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91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91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  <p:cmAuthor id="4" name="nicolas chevalier" initials="nc" lastIdx="1" clrIdx="3">
    <p:extLst>
      <p:ext uri="{19B8F6BF-5375-455C-9EA6-DF929625EA0E}">
        <p15:presenceInfo xmlns:p15="http://schemas.microsoft.com/office/powerpoint/2012/main" userId="nicolas chevali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509B"/>
    <a:srgbClr val="85BC25"/>
    <a:srgbClr val="CDCD06"/>
    <a:srgbClr val="1AD1A5"/>
    <a:srgbClr val="00CC9B"/>
    <a:srgbClr val="00866E"/>
    <a:srgbClr val="FFF915"/>
    <a:srgbClr val="5FBFBB"/>
    <a:srgbClr val="97A56A"/>
    <a:srgbClr val="95C1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FE48E2-9F47-4D26-A23D-D5AC4E9FE820}" v="7" dt="2020-10-20T16:14:30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60" autoAdjust="0"/>
    <p:restoredTop sz="96136" autoAdjust="0"/>
  </p:normalViewPr>
  <p:slideViewPr>
    <p:cSldViewPr snapToGrid="0">
      <p:cViewPr varScale="1">
        <p:scale>
          <a:sx n="195" d="100"/>
          <a:sy n="195" d="100"/>
        </p:scale>
        <p:origin x="176" y="592"/>
      </p:cViewPr>
      <p:guideLst>
        <p:guide orient="horz" pos="1597"/>
        <p:guide pos="2404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5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5/11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5/11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5/11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2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07796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5B3D423-6E64-754A-9194-0921FE139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84108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Diapositive think-cell" r:id="rId11" imgW="7772400" imgH="10058400" progId="TCLayout.ActiveDocument.1">
                  <p:embed/>
                </p:oleObj>
              </mc:Choice>
              <mc:Fallback>
                <p:oleObj name="Diapositive think-cell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731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F2E392D7-7FCE-7249-8D17-8B64258F4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7427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Diapositive think-cell" r:id="rId7" imgW="7772400" imgH="10058400" progId="TCLayout.ActiveDocument.1">
                  <p:embed/>
                </p:oleObj>
              </mc:Choice>
              <mc:Fallback>
                <p:oleObj name="Diapositive think-cell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19098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98984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05664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01904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10" Type="http://schemas.openxmlformats.org/officeDocument/2006/relationships/image" Target="../media/image28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 17" hidden="1">
            <a:extLst>
              <a:ext uri="{FF2B5EF4-FFF2-40B4-BE49-F238E27FC236}">
                <a16:creationId xmlns:a16="http://schemas.microsoft.com/office/drawing/2014/main" id="{FC434811-2158-D34C-8A08-D645E883C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354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Diapositive think-cell" r:id="rId4" imgW="7772400" imgH="10058400" progId="TCLayout.ActiveDocument.1">
                  <p:embed/>
                </p:oleObj>
              </mc:Choice>
              <mc:Fallback>
                <p:oleObj name="Diapositiv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CEDE2874-BC1C-45D0-9476-1BA243F72CD4}"/>
              </a:ext>
            </a:extLst>
          </p:cNvPr>
          <p:cNvSpPr txBox="1"/>
          <p:nvPr/>
        </p:nvSpPr>
        <p:spPr>
          <a:xfrm>
            <a:off x="143895" y="67121"/>
            <a:ext cx="35125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75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ichelin Black" panose="02000000000000000000" pitchFamily="2" charset="0"/>
                <a:cs typeface="Aharoni" panose="02010803020104030203" pitchFamily="2" charset="-79"/>
              </a:rPr>
              <a:t>PRODUCT LIFE CYC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257FB4BF-E099-4F59-98D2-580D0D57DFAB}"/>
              </a:ext>
            </a:extLst>
          </p:cNvPr>
          <p:cNvGrpSpPr/>
          <p:nvPr/>
        </p:nvGrpSpPr>
        <p:grpSpPr>
          <a:xfrm>
            <a:off x="5957321" y="67121"/>
            <a:ext cx="3164113" cy="836038"/>
            <a:chOff x="3489324" y="450850"/>
            <a:chExt cx="1509088" cy="447675"/>
          </a:xfrm>
        </p:grpSpPr>
        <p:pic>
          <p:nvPicPr>
            <p:cNvPr id="9" name="Graphique 8">
              <a:extLst>
                <a:ext uri="{FF2B5EF4-FFF2-40B4-BE49-F238E27FC236}">
                  <a16:creationId xmlns:a16="http://schemas.microsoft.com/office/drawing/2014/main" id="{A0FD3888-D1EB-4E8E-B838-C0894CA26D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4981" t="43049" r="85536" b="40845"/>
            <a:stretch/>
          </p:blipFill>
          <p:spPr>
            <a:xfrm>
              <a:off x="3489324" y="450850"/>
              <a:ext cx="854075" cy="447675"/>
            </a:xfrm>
            <a:prstGeom prst="rect">
              <a:avLst/>
            </a:prstGeom>
          </p:spPr>
        </p:pic>
        <p:pic>
          <p:nvPicPr>
            <p:cNvPr id="11" name="Graphique 10">
              <a:extLst>
                <a:ext uri="{FF2B5EF4-FFF2-40B4-BE49-F238E27FC236}">
                  <a16:creationId xmlns:a16="http://schemas.microsoft.com/office/drawing/2014/main" id="{7A93A71D-E842-445A-B130-B8C3109E90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88372" t="43507" r="3628" b="42385"/>
            <a:stretch/>
          </p:blipFill>
          <p:spPr>
            <a:xfrm>
              <a:off x="4277914" y="459184"/>
              <a:ext cx="720498" cy="392114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7B1AB73-4CA8-42BB-A17B-2896C15D97E4}"/>
              </a:ext>
            </a:extLst>
          </p:cNvPr>
          <p:cNvSpPr txBox="1"/>
          <p:nvPr/>
        </p:nvSpPr>
        <p:spPr>
          <a:xfrm>
            <a:off x="2906370" y="4474118"/>
            <a:ext cx="494347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85BC25"/>
                </a:solidFill>
                <a:latin typeface="Gotham Rounded Bold" pitchFamily="50" charset="0"/>
              </a:rPr>
              <a:t>FROM IDEA TO RETIREMENT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BF7A336-4192-40DA-88C0-6B6254773E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43" y="4608217"/>
            <a:ext cx="1105750" cy="448043"/>
          </a:xfrm>
          <a:prstGeom prst="rect">
            <a:avLst/>
          </a:prstGeom>
        </p:spPr>
      </p:pic>
      <p:pic>
        <p:nvPicPr>
          <p:cNvPr id="34" name="Graphique 33">
            <a:extLst>
              <a:ext uri="{FF2B5EF4-FFF2-40B4-BE49-F238E27FC236}">
                <a16:creationId xmlns:a16="http://schemas.microsoft.com/office/drawing/2014/main" id="{5A740329-9CB3-4B17-8447-4CB8CB0A78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79198" y="4970951"/>
            <a:ext cx="364802" cy="170619"/>
          </a:xfrm>
          <a:prstGeom prst="rect">
            <a:avLst/>
          </a:prstGeom>
        </p:spPr>
      </p:pic>
      <p:grpSp>
        <p:nvGrpSpPr>
          <p:cNvPr id="23" name="Groupe 22">
            <a:extLst>
              <a:ext uri="{FF2B5EF4-FFF2-40B4-BE49-F238E27FC236}">
                <a16:creationId xmlns:a16="http://schemas.microsoft.com/office/drawing/2014/main" id="{2D54C6E9-5978-9148-B85D-57C0422CA4A7}"/>
              </a:ext>
            </a:extLst>
          </p:cNvPr>
          <p:cNvGrpSpPr/>
          <p:nvPr/>
        </p:nvGrpSpPr>
        <p:grpSpPr>
          <a:xfrm>
            <a:off x="115320" y="860085"/>
            <a:ext cx="9006114" cy="2698037"/>
            <a:chOff x="68943" y="1346776"/>
            <a:chExt cx="9006114" cy="2698037"/>
          </a:xfrm>
        </p:grpSpPr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4DF1B3A0-341F-3D40-BBFE-F6E7B1844848}"/>
                </a:ext>
              </a:extLst>
            </p:cNvPr>
            <p:cNvGrpSpPr/>
            <p:nvPr/>
          </p:nvGrpSpPr>
          <p:grpSpPr>
            <a:xfrm>
              <a:off x="68943" y="1346776"/>
              <a:ext cx="9006114" cy="2698037"/>
              <a:chOff x="68943" y="1320652"/>
              <a:chExt cx="9006114" cy="2698037"/>
            </a:xfrm>
          </p:grpSpPr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2D197397-FE9F-CE44-9EAE-47DAFDD9E372}"/>
                  </a:ext>
                </a:extLst>
              </p:cNvPr>
              <p:cNvGrpSpPr/>
              <p:nvPr/>
            </p:nvGrpSpPr>
            <p:grpSpPr>
              <a:xfrm>
                <a:off x="68943" y="1320652"/>
                <a:ext cx="9006114" cy="2580444"/>
                <a:chOff x="68943" y="1363312"/>
                <a:chExt cx="9006114" cy="2580444"/>
              </a:xfrm>
            </p:grpSpPr>
            <p:grpSp>
              <p:nvGrpSpPr>
                <p:cNvPr id="5" name="Groupe 4">
                  <a:extLst>
                    <a:ext uri="{FF2B5EF4-FFF2-40B4-BE49-F238E27FC236}">
                      <a16:creationId xmlns:a16="http://schemas.microsoft.com/office/drawing/2014/main" id="{F515D368-AB9E-4A29-8CDB-F0D8F1A1D4D3}"/>
                    </a:ext>
                  </a:extLst>
                </p:cNvPr>
                <p:cNvGrpSpPr/>
                <p:nvPr/>
              </p:nvGrpSpPr>
              <p:grpSpPr>
                <a:xfrm>
                  <a:off x="68943" y="1363312"/>
                  <a:ext cx="9006114" cy="2580444"/>
                  <a:chOff x="514129" y="1047016"/>
                  <a:chExt cx="24171718" cy="6669212"/>
                </a:xfrm>
              </p:grpSpPr>
              <p:pic>
                <p:nvPicPr>
                  <p:cNvPr id="2" name="Graphique 1">
                    <a:extLst>
                      <a:ext uri="{FF2B5EF4-FFF2-40B4-BE49-F238E27FC236}">
                        <a16:creationId xmlns:a16="http://schemas.microsoft.com/office/drawing/2014/main" id="{E0A4D984-9D24-4D71-B171-17A6E737027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14129" y="1047016"/>
                    <a:ext cx="24171718" cy="6669212"/>
                  </a:xfrm>
                  <a:prstGeom prst="rect">
                    <a:avLst/>
                  </a:prstGeom>
                </p:spPr>
              </p:pic>
              <p:sp>
                <p:nvSpPr>
                  <p:cNvPr id="3" name="ZoneTexte 2">
                    <a:extLst>
                      <a:ext uri="{FF2B5EF4-FFF2-40B4-BE49-F238E27FC236}">
                        <a16:creationId xmlns:a16="http://schemas.microsoft.com/office/drawing/2014/main" id="{A4615FE8-2ABF-4500-990D-350AB5BFDF57}"/>
                      </a:ext>
                    </a:extLst>
                  </p:cNvPr>
                  <p:cNvSpPr txBox="1"/>
                  <p:nvPr/>
                </p:nvSpPr>
                <p:spPr>
                  <a:xfrm>
                    <a:off x="11020942" y="4743101"/>
                    <a:ext cx="1701846" cy="63636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fr-FR" sz="500" dirty="0">
                        <a:solidFill>
                          <a:srgbClr val="27509B"/>
                        </a:solidFill>
                        <a:latin typeface="Gotham Rounded Bold" pitchFamily="50" charset="0"/>
                      </a:rPr>
                      <a:t>HEALTH</a:t>
                    </a:r>
                  </a:p>
                  <a:p>
                    <a:r>
                      <a:rPr lang="fr-FR" sz="500" dirty="0">
                        <a:solidFill>
                          <a:srgbClr val="27509B"/>
                        </a:solidFill>
                        <a:latin typeface="Gotham Rounded Bold" pitchFamily="50" charset="0"/>
                      </a:rPr>
                      <a:t> CHECK</a:t>
                    </a:r>
                  </a:p>
                </p:txBody>
              </p:sp>
              <p:sp>
                <p:nvSpPr>
                  <p:cNvPr id="4" name="ZoneTexte 3">
                    <a:extLst>
                      <a:ext uri="{FF2B5EF4-FFF2-40B4-BE49-F238E27FC236}">
                        <a16:creationId xmlns:a16="http://schemas.microsoft.com/office/drawing/2014/main" id="{382A4056-3D21-4D81-96FE-5B83C4677083}"/>
                      </a:ext>
                    </a:extLst>
                  </p:cNvPr>
                  <p:cNvSpPr txBox="1"/>
                  <p:nvPr/>
                </p:nvSpPr>
                <p:spPr>
                  <a:xfrm>
                    <a:off x="17343701" y="4743098"/>
                    <a:ext cx="1701846" cy="63636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fr-FR" sz="500" dirty="0">
                        <a:solidFill>
                          <a:srgbClr val="27509B"/>
                        </a:solidFill>
                        <a:latin typeface="Gotham Rounded Bold" pitchFamily="50" charset="0"/>
                      </a:rPr>
                      <a:t>HEALTH</a:t>
                    </a:r>
                  </a:p>
                  <a:p>
                    <a:r>
                      <a:rPr lang="fr-FR" sz="500" dirty="0">
                        <a:solidFill>
                          <a:srgbClr val="27509B"/>
                        </a:solidFill>
                        <a:latin typeface="Gotham Rounded Bold" pitchFamily="50" charset="0"/>
                      </a:rPr>
                      <a:t> CHECK</a:t>
                    </a:r>
                  </a:p>
                </p:txBody>
              </p:sp>
            </p:grpSp>
            <p:sp>
              <p:nvSpPr>
                <p:cNvPr id="7" name="ZoneTexte 6">
                  <a:extLst>
                    <a:ext uri="{FF2B5EF4-FFF2-40B4-BE49-F238E27FC236}">
                      <a16:creationId xmlns:a16="http://schemas.microsoft.com/office/drawing/2014/main" id="{2D1F48B4-F11B-4A83-BA61-17138F1ED58D}"/>
                    </a:ext>
                  </a:extLst>
                </p:cNvPr>
                <p:cNvSpPr txBox="1"/>
                <p:nvPr/>
              </p:nvSpPr>
              <p:spPr>
                <a:xfrm>
                  <a:off x="1485349" y="3466846"/>
                  <a:ext cx="1604017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endParaRPr lang="fr-FR" sz="1000" dirty="0">
                    <a:solidFill>
                      <a:srgbClr val="27509B"/>
                    </a:solidFill>
                    <a:latin typeface="Gotham Rounded Bold" pitchFamily="50" charset="0"/>
                  </a:endParaRPr>
                </a:p>
              </p:txBody>
            </p:sp>
            <p:sp>
              <p:nvSpPr>
                <p:cNvPr id="8" name="ZoneTexte 7">
                  <a:extLst>
                    <a:ext uri="{FF2B5EF4-FFF2-40B4-BE49-F238E27FC236}">
                      <a16:creationId xmlns:a16="http://schemas.microsoft.com/office/drawing/2014/main" id="{EF993AC2-FE4D-489C-A42B-684353DEC631}"/>
                    </a:ext>
                  </a:extLst>
                </p:cNvPr>
                <p:cNvSpPr txBox="1"/>
                <p:nvPr/>
              </p:nvSpPr>
              <p:spPr>
                <a:xfrm>
                  <a:off x="3687716" y="3479534"/>
                  <a:ext cx="1604017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endParaRPr lang="fr-FR" sz="1000" dirty="0">
                    <a:solidFill>
                      <a:srgbClr val="27509B"/>
                    </a:solidFill>
                    <a:latin typeface="Gotham Rounded Bold" pitchFamily="50" charset="0"/>
                  </a:endParaRPr>
                </a:p>
              </p:txBody>
            </p:sp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E45D6EB2-134A-4CF7-8A33-FCD07878DC39}"/>
                    </a:ext>
                  </a:extLst>
                </p:cNvPr>
                <p:cNvSpPr txBox="1"/>
                <p:nvPr/>
              </p:nvSpPr>
              <p:spPr>
                <a:xfrm>
                  <a:off x="6372807" y="3451313"/>
                  <a:ext cx="795916" cy="24622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endParaRPr lang="fr-FR" sz="1000" dirty="0">
                    <a:solidFill>
                      <a:srgbClr val="27509B"/>
                    </a:solidFill>
                    <a:latin typeface="Gotham Rounded Bold" pitchFamily="50" charset="0"/>
                  </a:endParaRPr>
                </a:p>
              </p:txBody>
            </p:sp>
          </p:grpSp>
          <p:sp>
            <p:nvSpPr>
              <p:cNvPr id="40" name="ZoneTexte 39">
                <a:extLst>
                  <a:ext uri="{FF2B5EF4-FFF2-40B4-BE49-F238E27FC236}">
                    <a16:creationId xmlns:a16="http://schemas.microsoft.com/office/drawing/2014/main" id="{4A96F70F-9944-47B3-8736-63CE7BADA6CC}"/>
                  </a:ext>
                </a:extLst>
              </p:cNvPr>
              <p:cNvSpPr txBox="1"/>
              <p:nvPr/>
            </p:nvSpPr>
            <p:spPr>
              <a:xfrm>
                <a:off x="3526972" y="3649357"/>
                <a:ext cx="2383972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endParaRPr lang="fr-FR" dirty="0">
                  <a:solidFill>
                    <a:srgbClr val="85BC25"/>
                  </a:solidFill>
                  <a:latin typeface="Michelin Black" panose="02000000000000000000" pitchFamily="50" charset="0"/>
                </a:endParaRPr>
              </a:p>
            </p:txBody>
          </p:sp>
        </p:grpSp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3C4DA4BC-8546-5B48-9AD8-064A53AD989E}"/>
                </a:ext>
              </a:extLst>
            </p:cNvPr>
            <p:cNvSpPr/>
            <p:nvPr/>
          </p:nvSpPr>
          <p:spPr>
            <a:xfrm>
              <a:off x="3141617" y="1813913"/>
              <a:ext cx="385354" cy="2163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ichelin SemiBold" panose="02000000000000000000" pitchFamily="2" charset="0"/>
                </a:rPr>
                <a:t>PI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D717D840-683E-2242-85CB-CA80F2C3FF5A}"/>
                </a:ext>
              </a:extLst>
            </p:cNvPr>
            <p:cNvSpPr/>
            <p:nvPr/>
          </p:nvSpPr>
          <p:spPr>
            <a:xfrm>
              <a:off x="5459640" y="1813913"/>
              <a:ext cx="385354" cy="21639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ichelin SemiBold" panose="02000000000000000000" pitchFamily="2" charset="0"/>
                </a:rPr>
                <a:t>PI</a:t>
              </a:r>
            </a:p>
          </p:txBody>
        </p:sp>
      </p:grpSp>
      <p:sp>
        <p:nvSpPr>
          <p:cNvPr id="15" name="ZoneTexte 14">
            <a:extLst>
              <a:ext uri="{FF2B5EF4-FFF2-40B4-BE49-F238E27FC236}">
                <a16:creationId xmlns:a16="http://schemas.microsoft.com/office/drawing/2014/main" id="{9FFFC430-B893-224E-822E-C57F5D8DDB62}"/>
              </a:ext>
            </a:extLst>
          </p:cNvPr>
          <p:cNvSpPr txBox="1"/>
          <p:nvPr/>
        </p:nvSpPr>
        <p:spPr>
          <a:xfrm>
            <a:off x="1156310" y="4856125"/>
            <a:ext cx="132440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I: Product Increment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409C305-8E25-7144-A867-6F7324F0C71E}"/>
              </a:ext>
            </a:extLst>
          </p:cNvPr>
          <p:cNvSpPr txBox="1"/>
          <p:nvPr/>
        </p:nvSpPr>
        <p:spPr>
          <a:xfrm>
            <a:off x="1658379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Search &amp; Design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lore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789EA23-0FCE-E544-BFAA-A58C06E8F2BE}"/>
              </a:ext>
            </a:extLst>
          </p:cNvPr>
          <p:cNvSpPr txBox="1"/>
          <p:nvPr/>
        </p:nvSpPr>
        <p:spPr>
          <a:xfrm>
            <a:off x="3482201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Growth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loit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6C428F77-4792-9E4C-813B-6E7D535DF37E}"/>
              </a:ext>
            </a:extLst>
          </p:cNvPr>
          <p:cNvSpPr txBox="1"/>
          <p:nvPr/>
        </p:nvSpPr>
        <p:spPr>
          <a:xfrm>
            <a:off x="5306023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Maturity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stain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5638AF55-126C-D946-A71F-0204634FC9FE}"/>
              </a:ext>
            </a:extLst>
          </p:cNvPr>
          <p:cNvSpPr txBox="1"/>
          <p:nvPr/>
        </p:nvSpPr>
        <p:spPr>
          <a:xfrm>
            <a:off x="7129845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Decline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tire</a:t>
            </a:r>
          </a:p>
        </p:txBody>
      </p:sp>
      <p:sp>
        <p:nvSpPr>
          <p:cNvPr id="24" name="Forme libre 23">
            <a:extLst>
              <a:ext uri="{FF2B5EF4-FFF2-40B4-BE49-F238E27FC236}">
                <a16:creationId xmlns:a16="http://schemas.microsoft.com/office/drawing/2014/main" id="{DEE3D7BF-F431-0847-88BD-5720E76818AF}"/>
              </a:ext>
            </a:extLst>
          </p:cNvPr>
          <p:cNvSpPr/>
          <p:nvPr/>
        </p:nvSpPr>
        <p:spPr>
          <a:xfrm>
            <a:off x="1313296" y="3124616"/>
            <a:ext cx="7321731" cy="1163917"/>
          </a:xfrm>
          <a:custGeom>
            <a:avLst/>
            <a:gdLst>
              <a:gd name="connsiteX0" fmla="*/ 0 w 6348549"/>
              <a:gd name="connsiteY0" fmla="*/ 1137792 h 1137792"/>
              <a:gd name="connsiteX1" fmla="*/ 894806 w 6348549"/>
              <a:gd name="connsiteY1" fmla="*/ 811221 h 1137792"/>
              <a:gd name="connsiteX2" fmla="*/ 1410789 w 6348549"/>
              <a:gd name="connsiteY2" fmla="*/ 438929 h 1137792"/>
              <a:gd name="connsiteX3" fmla="*/ 1867989 w 6348549"/>
              <a:gd name="connsiteY3" fmla="*/ 112358 h 1137792"/>
              <a:gd name="connsiteX4" fmla="*/ 2488474 w 6348549"/>
              <a:gd name="connsiteY4" fmla="*/ 1324 h 1137792"/>
              <a:gd name="connsiteX5" fmla="*/ 3696789 w 6348549"/>
              <a:gd name="connsiteY5" fmla="*/ 60107 h 1137792"/>
              <a:gd name="connsiteX6" fmla="*/ 4545874 w 6348549"/>
              <a:gd name="connsiteY6" fmla="*/ 190735 h 1137792"/>
              <a:gd name="connsiteX7" fmla="*/ 4963886 w 6348549"/>
              <a:gd name="connsiteY7" fmla="*/ 451992 h 1137792"/>
              <a:gd name="connsiteX8" fmla="*/ 5257800 w 6348549"/>
              <a:gd name="connsiteY8" fmla="*/ 785095 h 1137792"/>
              <a:gd name="connsiteX9" fmla="*/ 5492932 w 6348549"/>
              <a:gd name="connsiteY9" fmla="*/ 961444 h 1137792"/>
              <a:gd name="connsiteX10" fmla="*/ 6348549 w 6348549"/>
              <a:gd name="connsiteY10" fmla="*/ 1085541 h 1137792"/>
              <a:gd name="connsiteX0" fmla="*/ 0 w 6897189"/>
              <a:gd name="connsiteY0" fmla="*/ 1163917 h 1163917"/>
              <a:gd name="connsiteX1" fmla="*/ 1443446 w 6897189"/>
              <a:gd name="connsiteY1" fmla="*/ 811221 h 1163917"/>
              <a:gd name="connsiteX2" fmla="*/ 1959429 w 6897189"/>
              <a:gd name="connsiteY2" fmla="*/ 438929 h 1163917"/>
              <a:gd name="connsiteX3" fmla="*/ 2416629 w 6897189"/>
              <a:gd name="connsiteY3" fmla="*/ 112358 h 1163917"/>
              <a:gd name="connsiteX4" fmla="*/ 3037114 w 6897189"/>
              <a:gd name="connsiteY4" fmla="*/ 1324 h 1163917"/>
              <a:gd name="connsiteX5" fmla="*/ 4245429 w 6897189"/>
              <a:gd name="connsiteY5" fmla="*/ 60107 h 1163917"/>
              <a:gd name="connsiteX6" fmla="*/ 5094514 w 6897189"/>
              <a:gd name="connsiteY6" fmla="*/ 190735 h 1163917"/>
              <a:gd name="connsiteX7" fmla="*/ 5512526 w 6897189"/>
              <a:gd name="connsiteY7" fmla="*/ 451992 h 1163917"/>
              <a:gd name="connsiteX8" fmla="*/ 5806440 w 6897189"/>
              <a:gd name="connsiteY8" fmla="*/ 785095 h 1163917"/>
              <a:gd name="connsiteX9" fmla="*/ 6041572 w 6897189"/>
              <a:gd name="connsiteY9" fmla="*/ 961444 h 1163917"/>
              <a:gd name="connsiteX10" fmla="*/ 6897189 w 6897189"/>
              <a:gd name="connsiteY10" fmla="*/ 1085541 h 1163917"/>
              <a:gd name="connsiteX0" fmla="*/ 0 w 6897189"/>
              <a:gd name="connsiteY0" fmla="*/ 1163917 h 1163917"/>
              <a:gd name="connsiteX1" fmla="*/ 1502229 w 6897189"/>
              <a:gd name="connsiteY1" fmla="*/ 981038 h 1163917"/>
              <a:gd name="connsiteX2" fmla="*/ 1959429 w 6897189"/>
              <a:gd name="connsiteY2" fmla="*/ 438929 h 1163917"/>
              <a:gd name="connsiteX3" fmla="*/ 2416629 w 6897189"/>
              <a:gd name="connsiteY3" fmla="*/ 112358 h 1163917"/>
              <a:gd name="connsiteX4" fmla="*/ 3037114 w 6897189"/>
              <a:gd name="connsiteY4" fmla="*/ 1324 h 1163917"/>
              <a:gd name="connsiteX5" fmla="*/ 4245429 w 6897189"/>
              <a:gd name="connsiteY5" fmla="*/ 60107 h 1163917"/>
              <a:gd name="connsiteX6" fmla="*/ 5094514 w 6897189"/>
              <a:gd name="connsiteY6" fmla="*/ 190735 h 1163917"/>
              <a:gd name="connsiteX7" fmla="*/ 5512526 w 6897189"/>
              <a:gd name="connsiteY7" fmla="*/ 451992 h 1163917"/>
              <a:gd name="connsiteX8" fmla="*/ 5806440 w 6897189"/>
              <a:gd name="connsiteY8" fmla="*/ 785095 h 1163917"/>
              <a:gd name="connsiteX9" fmla="*/ 6041572 w 6897189"/>
              <a:gd name="connsiteY9" fmla="*/ 961444 h 1163917"/>
              <a:gd name="connsiteX10" fmla="*/ 6897189 w 6897189"/>
              <a:gd name="connsiteY10" fmla="*/ 1085541 h 1163917"/>
              <a:gd name="connsiteX0" fmla="*/ 0 w 6897189"/>
              <a:gd name="connsiteY0" fmla="*/ 1163917 h 1163917"/>
              <a:gd name="connsiteX1" fmla="*/ 519525 w 6897189"/>
              <a:gd name="connsiteY1" fmla="*/ 1083656 h 1163917"/>
              <a:gd name="connsiteX2" fmla="*/ 1502229 w 6897189"/>
              <a:gd name="connsiteY2" fmla="*/ 981038 h 1163917"/>
              <a:gd name="connsiteX3" fmla="*/ 1959429 w 6897189"/>
              <a:gd name="connsiteY3" fmla="*/ 438929 h 1163917"/>
              <a:gd name="connsiteX4" fmla="*/ 2416629 w 6897189"/>
              <a:gd name="connsiteY4" fmla="*/ 112358 h 1163917"/>
              <a:gd name="connsiteX5" fmla="*/ 3037114 w 6897189"/>
              <a:gd name="connsiteY5" fmla="*/ 1324 h 1163917"/>
              <a:gd name="connsiteX6" fmla="*/ 4245429 w 6897189"/>
              <a:gd name="connsiteY6" fmla="*/ 60107 h 1163917"/>
              <a:gd name="connsiteX7" fmla="*/ 5094514 w 6897189"/>
              <a:gd name="connsiteY7" fmla="*/ 190735 h 1163917"/>
              <a:gd name="connsiteX8" fmla="*/ 5512526 w 6897189"/>
              <a:gd name="connsiteY8" fmla="*/ 451992 h 1163917"/>
              <a:gd name="connsiteX9" fmla="*/ 5806440 w 6897189"/>
              <a:gd name="connsiteY9" fmla="*/ 785095 h 1163917"/>
              <a:gd name="connsiteX10" fmla="*/ 6041572 w 6897189"/>
              <a:gd name="connsiteY10" fmla="*/ 961444 h 1163917"/>
              <a:gd name="connsiteX11" fmla="*/ 6897189 w 6897189"/>
              <a:gd name="connsiteY11" fmla="*/ 1085541 h 1163917"/>
              <a:gd name="connsiteX0" fmla="*/ 0 w 6897189"/>
              <a:gd name="connsiteY0" fmla="*/ 1163917 h 1163917"/>
              <a:gd name="connsiteX1" fmla="*/ 532588 w 6897189"/>
              <a:gd name="connsiteY1" fmla="*/ 1142438 h 1163917"/>
              <a:gd name="connsiteX2" fmla="*/ 1502229 w 6897189"/>
              <a:gd name="connsiteY2" fmla="*/ 981038 h 1163917"/>
              <a:gd name="connsiteX3" fmla="*/ 1959429 w 6897189"/>
              <a:gd name="connsiteY3" fmla="*/ 438929 h 1163917"/>
              <a:gd name="connsiteX4" fmla="*/ 2416629 w 6897189"/>
              <a:gd name="connsiteY4" fmla="*/ 112358 h 1163917"/>
              <a:gd name="connsiteX5" fmla="*/ 3037114 w 6897189"/>
              <a:gd name="connsiteY5" fmla="*/ 1324 h 1163917"/>
              <a:gd name="connsiteX6" fmla="*/ 4245429 w 6897189"/>
              <a:gd name="connsiteY6" fmla="*/ 60107 h 1163917"/>
              <a:gd name="connsiteX7" fmla="*/ 5094514 w 6897189"/>
              <a:gd name="connsiteY7" fmla="*/ 190735 h 1163917"/>
              <a:gd name="connsiteX8" fmla="*/ 5512526 w 6897189"/>
              <a:gd name="connsiteY8" fmla="*/ 451992 h 1163917"/>
              <a:gd name="connsiteX9" fmla="*/ 5806440 w 6897189"/>
              <a:gd name="connsiteY9" fmla="*/ 785095 h 1163917"/>
              <a:gd name="connsiteX10" fmla="*/ 6041572 w 6897189"/>
              <a:gd name="connsiteY10" fmla="*/ 961444 h 1163917"/>
              <a:gd name="connsiteX11" fmla="*/ 6897189 w 6897189"/>
              <a:gd name="connsiteY11" fmla="*/ 1085541 h 1163917"/>
              <a:gd name="connsiteX0" fmla="*/ 0 w 6897189"/>
              <a:gd name="connsiteY0" fmla="*/ 1163917 h 1163917"/>
              <a:gd name="connsiteX1" fmla="*/ 532588 w 6897189"/>
              <a:gd name="connsiteY1" fmla="*/ 1142438 h 1163917"/>
              <a:gd name="connsiteX2" fmla="*/ 917942 w 6897189"/>
              <a:gd name="connsiteY2" fmla="*/ 1103250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84435"/>
              <a:gd name="connsiteX1" fmla="*/ 558714 w 6897189"/>
              <a:gd name="connsiteY1" fmla="*/ 1175095 h 1184435"/>
              <a:gd name="connsiteX2" fmla="*/ 917942 w 6897189"/>
              <a:gd name="connsiteY2" fmla="*/ 1103250 h 1184435"/>
              <a:gd name="connsiteX3" fmla="*/ 1502229 w 6897189"/>
              <a:gd name="connsiteY3" fmla="*/ 981038 h 1184435"/>
              <a:gd name="connsiteX4" fmla="*/ 1959429 w 6897189"/>
              <a:gd name="connsiteY4" fmla="*/ 438929 h 1184435"/>
              <a:gd name="connsiteX5" fmla="*/ 2416629 w 6897189"/>
              <a:gd name="connsiteY5" fmla="*/ 112358 h 1184435"/>
              <a:gd name="connsiteX6" fmla="*/ 3037114 w 6897189"/>
              <a:gd name="connsiteY6" fmla="*/ 1324 h 1184435"/>
              <a:gd name="connsiteX7" fmla="*/ 4245429 w 6897189"/>
              <a:gd name="connsiteY7" fmla="*/ 60107 h 1184435"/>
              <a:gd name="connsiteX8" fmla="*/ 5094514 w 6897189"/>
              <a:gd name="connsiteY8" fmla="*/ 190735 h 1184435"/>
              <a:gd name="connsiteX9" fmla="*/ 5512526 w 6897189"/>
              <a:gd name="connsiteY9" fmla="*/ 451992 h 1184435"/>
              <a:gd name="connsiteX10" fmla="*/ 5806440 w 6897189"/>
              <a:gd name="connsiteY10" fmla="*/ 785095 h 1184435"/>
              <a:gd name="connsiteX11" fmla="*/ 6041572 w 6897189"/>
              <a:gd name="connsiteY11" fmla="*/ 961444 h 1184435"/>
              <a:gd name="connsiteX12" fmla="*/ 6897189 w 6897189"/>
              <a:gd name="connsiteY12" fmla="*/ 1085541 h 1184435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17942 w 6897189"/>
              <a:gd name="connsiteY2" fmla="*/ 1103250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28354 w 6897189"/>
              <a:gd name="connsiteY3" fmla="*/ 896129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28354 w 6897189"/>
              <a:gd name="connsiteY3" fmla="*/ 896129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126481 w 6897189"/>
              <a:gd name="connsiteY11" fmla="*/ 954913 h 1163917"/>
              <a:gd name="connsiteX12" fmla="*/ 6897189 w 6897189"/>
              <a:gd name="connsiteY12" fmla="*/ 1085541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7648303 w 7648303"/>
              <a:gd name="connsiteY12" fmla="*/ 1092072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6802760 w 7648303"/>
              <a:gd name="connsiteY12" fmla="*/ 1024873 h 1163917"/>
              <a:gd name="connsiteX13" fmla="*/ 7648303 w 7648303"/>
              <a:gd name="connsiteY13" fmla="*/ 1092072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6952983 w 7648303"/>
              <a:gd name="connsiteY12" fmla="*/ 1057530 h 1163917"/>
              <a:gd name="connsiteX13" fmla="*/ 7648303 w 7648303"/>
              <a:gd name="connsiteY13" fmla="*/ 1092072 h 1163917"/>
              <a:gd name="connsiteX0" fmla="*/ 0 w 7321731"/>
              <a:gd name="connsiteY0" fmla="*/ 1163917 h 1163917"/>
              <a:gd name="connsiteX1" fmla="*/ 545652 w 7321731"/>
              <a:gd name="connsiteY1" fmla="*/ 1148969 h 1163917"/>
              <a:gd name="connsiteX2" fmla="*/ 970194 w 7321731"/>
              <a:gd name="connsiteY2" fmla="*/ 1122844 h 1163917"/>
              <a:gd name="connsiteX3" fmla="*/ 1528354 w 7321731"/>
              <a:gd name="connsiteY3" fmla="*/ 896129 h 1163917"/>
              <a:gd name="connsiteX4" fmla="*/ 1959429 w 7321731"/>
              <a:gd name="connsiteY4" fmla="*/ 438929 h 1163917"/>
              <a:gd name="connsiteX5" fmla="*/ 2416629 w 7321731"/>
              <a:gd name="connsiteY5" fmla="*/ 112358 h 1163917"/>
              <a:gd name="connsiteX6" fmla="*/ 3037114 w 7321731"/>
              <a:gd name="connsiteY6" fmla="*/ 1324 h 1163917"/>
              <a:gd name="connsiteX7" fmla="*/ 4245429 w 7321731"/>
              <a:gd name="connsiteY7" fmla="*/ 60107 h 1163917"/>
              <a:gd name="connsiteX8" fmla="*/ 5094514 w 7321731"/>
              <a:gd name="connsiteY8" fmla="*/ 190735 h 1163917"/>
              <a:gd name="connsiteX9" fmla="*/ 5512526 w 7321731"/>
              <a:gd name="connsiteY9" fmla="*/ 451992 h 1163917"/>
              <a:gd name="connsiteX10" fmla="*/ 5806440 w 7321731"/>
              <a:gd name="connsiteY10" fmla="*/ 785095 h 1163917"/>
              <a:gd name="connsiteX11" fmla="*/ 6126481 w 7321731"/>
              <a:gd name="connsiteY11" fmla="*/ 954913 h 1163917"/>
              <a:gd name="connsiteX12" fmla="*/ 6952983 w 7321731"/>
              <a:gd name="connsiteY12" fmla="*/ 1057530 h 1163917"/>
              <a:gd name="connsiteX13" fmla="*/ 7321731 w 7321731"/>
              <a:gd name="connsiteY13" fmla="*/ 1085541 h 1163917"/>
              <a:gd name="connsiteX0" fmla="*/ 0 w 7321731"/>
              <a:gd name="connsiteY0" fmla="*/ 1163917 h 1163917"/>
              <a:gd name="connsiteX1" fmla="*/ 545652 w 7321731"/>
              <a:gd name="connsiteY1" fmla="*/ 1148969 h 1163917"/>
              <a:gd name="connsiteX2" fmla="*/ 970194 w 7321731"/>
              <a:gd name="connsiteY2" fmla="*/ 1122844 h 1163917"/>
              <a:gd name="connsiteX3" fmla="*/ 1528354 w 7321731"/>
              <a:gd name="connsiteY3" fmla="*/ 896129 h 1163917"/>
              <a:gd name="connsiteX4" fmla="*/ 1959429 w 7321731"/>
              <a:gd name="connsiteY4" fmla="*/ 438929 h 1163917"/>
              <a:gd name="connsiteX5" fmla="*/ 2416629 w 7321731"/>
              <a:gd name="connsiteY5" fmla="*/ 112358 h 1163917"/>
              <a:gd name="connsiteX6" fmla="*/ 3037114 w 7321731"/>
              <a:gd name="connsiteY6" fmla="*/ 1324 h 1163917"/>
              <a:gd name="connsiteX7" fmla="*/ 4245429 w 7321731"/>
              <a:gd name="connsiteY7" fmla="*/ 60107 h 1163917"/>
              <a:gd name="connsiteX8" fmla="*/ 5094514 w 7321731"/>
              <a:gd name="connsiteY8" fmla="*/ 190735 h 1163917"/>
              <a:gd name="connsiteX9" fmla="*/ 5512526 w 7321731"/>
              <a:gd name="connsiteY9" fmla="*/ 451992 h 1163917"/>
              <a:gd name="connsiteX10" fmla="*/ 5806440 w 7321731"/>
              <a:gd name="connsiteY10" fmla="*/ 785095 h 1163917"/>
              <a:gd name="connsiteX11" fmla="*/ 6126481 w 7321731"/>
              <a:gd name="connsiteY11" fmla="*/ 954913 h 1163917"/>
              <a:gd name="connsiteX12" fmla="*/ 6848480 w 7321731"/>
              <a:gd name="connsiteY12" fmla="*/ 1057530 h 1163917"/>
              <a:gd name="connsiteX13" fmla="*/ 7321731 w 7321731"/>
              <a:gd name="connsiteY13" fmla="*/ 1085541 h 1163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321731" h="1163917">
                <a:moveTo>
                  <a:pt x="0" y="1163917"/>
                </a:moveTo>
                <a:cubicBezTo>
                  <a:pt x="86587" y="1150540"/>
                  <a:pt x="295281" y="1179449"/>
                  <a:pt x="545652" y="1148969"/>
                </a:cubicBezTo>
                <a:cubicBezTo>
                  <a:pt x="698642" y="1138858"/>
                  <a:pt x="808587" y="1149744"/>
                  <a:pt x="970194" y="1122844"/>
                </a:cubicBezTo>
                <a:cubicBezTo>
                  <a:pt x="1131801" y="1095944"/>
                  <a:pt x="1363482" y="1010115"/>
                  <a:pt x="1528354" y="896129"/>
                </a:cubicBezTo>
                <a:cubicBezTo>
                  <a:pt x="1693226" y="782143"/>
                  <a:pt x="1811383" y="569557"/>
                  <a:pt x="1959429" y="438929"/>
                </a:cubicBezTo>
                <a:cubicBezTo>
                  <a:pt x="2107475" y="308301"/>
                  <a:pt x="2237015" y="185292"/>
                  <a:pt x="2416629" y="112358"/>
                </a:cubicBezTo>
                <a:cubicBezTo>
                  <a:pt x="2596243" y="39424"/>
                  <a:pt x="2732314" y="10032"/>
                  <a:pt x="3037114" y="1324"/>
                </a:cubicBezTo>
                <a:cubicBezTo>
                  <a:pt x="3341914" y="-7385"/>
                  <a:pt x="3902529" y="28539"/>
                  <a:pt x="4245429" y="60107"/>
                </a:cubicBezTo>
                <a:cubicBezTo>
                  <a:pt x="4588329" y="91675"/>
                  <a:pt x="4883331" y="125421"/>
                  <a:pt x="5094514" y="190735"/>
                </a:cubicBezTo>
                <a:cubicBezTo>
                  <a:pt x="5305697" y="256049"/>
                  <a:pt x="5393872" y="352932"/>
                  <a:pt x="5512526" y="451992"/>
                </a:cubicBezTo>
                <a:cubicBezTo>
                  <a:pt x="5631180" y="551052"/>
                  <a:pt x="5704114" y="701275"/>
                  <a:pt x="5806440" y="785095"/>
                </a:cubicBezTo>
                <a:cubicBezTo>
                  <a:pt x="5908766" y="868915"/>
                  <a:pt x="5960428" y="914950"/>
                  <a:pt x="6126481" y="954913"/>
                </a:cubicBezTo>
                <a:cubicBezTo>
                  <a:pt x="6292534" y="994876"/>
                  <a:pt x="6594843" y="1034670"/>
                  <a:pt x="6848480" y="1057530"/>
                </a:cubicBezTo>
                <a:cubicBezTo>
                  <a:pt x="7102117" y="1080390"/>
                  <a:pt x="7180807" y="1074341"/>
                  <a:pt x="7321731" y="1085541"/>
                </a:cubicBezTo>
              </a:path>
            </a:pathLst>
          </a:custGeom>
          <a:noFill/>
          <a:ln w="12700">
            <a:solidFill>
              <a:srgbClr val="27509B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7648303"/>
                      <a:gd name="connsiteY0" fmla="*/ 1163917 h 1163917"/>
                      <a:gd name="connsiteX1" fmla="*/ 545652 w 7648303"/>
                      <a:gd name="connsiteY1" fmla="*/ 1148969 h 1163917"/>
                      <a:gd name="connsiteX2" fmla="*/ 970194 w 7648303"/>
                      <a:gd name="connsiteY2" fmla="*/ 1122844 h 1163917"/>
                      <a:gd name="connsiteX3" fmla="*/ 1528354 w 7648303"/>
                      <a:gd name="connsiteY3" fmla="*/ 896129 h 1163917"/>
                      <a:gd name="connsiteX4" fmla="*/ 1959429 w 7648303"/>
                      <a:gd name="connsiteY4" fmla="*/ 438929 h 1163917"/>
                      <a:gd name="connsiteX5" fmla="*/ 2416629 w 7648303"/>
                      <a:gd name="connsiteY5" fmla="*/ 112358 h 1163917"/>
                      <a:gd name="connsiteX6" fmla="*/ 3037114 w 7648303"/>
                      <a:gd name="connsiteY6" fmla="*/ 1324 h 1163917"/>
                      <a:gd name="connsiteX7" fmla="*/ 4245429 w 7648303"/>
                      <a:gd name="connsiteY7" fmla="*/ 60107 h 1163917"/>
                      <a:gd name="connsiteX8" fmla="*/ 5094514 w 7648303"/>
                      <a:gd name="connsiteY8" fmla="*/ 190735 h 1163917"/>
                      <a:gd name="connsiteX9" fmla="*/ 5512526 w 7648303"/>
                      <a:gd name="connsiteY9" fmla="*/ 451992 h 1163917"/>
                      <a:gd name="connsiteX10" fmla="*/ 5806440 w 7648303"/>
                      <a:gd name="connsiteY10" fmla="*/ 785095 h 1163917"/>
                      <a:gd name="connsiteX11" fmla="*/ 6126481 w 7648303"/>
                      <a:gd name="connsiteY11" fmla="*/ 954913 h 1163917"/>
                      <a:gd name="connsiteX12" fmla="*/ 6952983 w 7648303"/>
                      <a:gd name="connsiteY12" fmla="*/ 1057530 h 1163917"/>
                      <a:gd name="connsiteX13" fmla="*/ 7648303 w 7648303"/>
                      <a:gd name="connsiteY13" fmla="*/ 1092072 h 1163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7648303" h="1163917" extrusionOk="0">
                        <a:moveTo>
                          <a:pt x="0" y="1163917"/>
                        </a:moveTo>
                        <a:cubicBezTo>
                          <a:pt x="50563" y="1128320"/>
                          <a:pt x="273482" y="1187631"/>
                          <a:pt x="545652" y="1148969"/>
                        </a:cubicBezTo>
                        <a:cubicBezTo>
                          <a:pt x="701440" y="1139447"/>
                          <a:pt x="798608" y="1150061"/>
                          <a:pt x="970194" y="1122844"/>
                        </a:cubicBezTo>
                        <a:cubicBezTo>
                          <a:pt x="1105458" y="1121670"/>
                          <a:pt x="1356171" y="1050528"/>
                          <a:pt x="1528354" y="896129"/>
                        </a:cubicBezTo>
                        <a:cubicBezTo>
                          <a:pt x="1671076" y="770024"/>
                          <a:pt x="1828334" y="577657"/>
                          <a:pt x="1959429" y="438929"/>
                        </a:cubicBezTo>
                        <a:cubicBezTo>
                          <a:pt x="2113183" y="308978"/>
                          <a:pt x="2239412" y="180358"/>
                          <a:pt x="2416629" y="112358"/>
                        </a:cubicBezTo>
                        <a:cubicBezTo>
                          <a:pt x="2576184" y="36352"/>
                          <a:pt x="2713191" y="28036"/>
                          <a:pt x="3037114" y="1324"/>
                        </a:cubicBezTo>
                        <a:cubicBezTo>
                          <a:pt x="3339573" y="-29711"/>
                          <a:pt x="3865835" y="79534"/>
                          <a:pt x="4245429" y="60107"/>
                        </a:cubicBezTo>
                        <a:cubicBezTo>
                          <a:pt x="4605829" y="101472"/>
                          <a:pt x="4933825" y="137562"/>
                          <a:pt x="5094514" y="190735"/>
                        </a:cubicBezTo>
                        <a:cubicBezTo>
                          <a:pt x="5295489" y="254398"/>
                          <a:pt x="5396831" y="355352"/>
                          <a:pt x="5512526" y="451992"/>
                        </a:cubicBezTo>
                        <a:cubicBezTo>
                          <a:pt x="5644496" y="570875"/>
                          <a:pt x="5706149" y="722350"/>
                          <a:pt x="5806440" y="785095"/>
                        </a:cubicBezTo>
                        <a:cubicBezTo>
                          <a:pt x="5912925" y="875321"/>
                          <a:pt x="5968363" y="924670"/>
                          <a:pt x="6126481" y="954913"/>
                        </a:cubicBezTo>
                        <a:cubicBezTo>
                          <a:pt x="6317969" y="972606"/>
                          <a:pt x="6705990" y="1003418"/>
                          <a:pt x="6952983" y="1057530"/>
                        </a:cubicBezTo>
                        <a:cubicBezTo>
                          <a:pt x="7190417" y="1083051"/>
                          <a:pt x="7492325" y="1070485"/>
                          <a:pt x="7648303" y="1092072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E2E4AFB3-CA2B-E140-90E3-F26E35EB28AD}"/>
              </a:ext>
            </a:extLst>
          </p:cNvPr>
          <p:cNvCxnSpPr>
            <a:cxnSpLocks/>
          </p:cNvCxnSpPr>
          <p:nvPr/>
        </p:nvCxnSpPr>
        <p:spPr>
          <a:xfrm flipV="1">
            <a:off x="1143248" y="3141794"/>
            <a:ext cx="0" cy="1169985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5F52299A-2205-BB47-9680-EAA55421738D}"/>
              </a:ext>
            </a:extLst>
          </p:cNvPr>
          <p:cNvCxnSpPr>
            <a:cxnSpLocks/>
          </p:cNvCxnSpPr>
          <p:nvPr/>
        </p:nvCxnSpPr>
        <p:spPr>
          <a:xfrm flipV="1">
            <a:off x="3052602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avec flèche 48">
            <a:extLst>
              <a:ext uri="{FF2B5EF4-FFF2-40B4-BE49-F238E27FC236}">
                <a16:creationId xmlns:a16="http://schemas.microsoft.com/office/drawing/2014/main" id="{8192C4BA-7E3D-0949-A9C3-8D58016D2CC6}"/>
              </a:ext>
            </a:extLst>
          </p:cNvPr>
          <p:cNvCxnSpPr>
            <a:cxnSpLocks/>
          </p:cNvCxnSpPr>
          <p:nvPr/>
        </p:nvCxnSpPr>
        <p:spPr>
          <a:xfrm flipV="1">
            <a:off x="4888108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avec flèche 49">
            <a:extLst>
              <a:ext uri="{FF2B5EF4-FFF2-40B4-BE49-F238E27FC236}">
                <a16:creationId xmlns:a16="http://schemas.microsoft.com/office/drawing/2014/main" id="{649D5B87-B229-B046-B7DA-9E453156AC31}"/>
              </a:ext>
            </a:extLst>
          </p:cNvPr>
          <p:cNvCxnSpPr>
            <a:cxnSpLocks/>
          </p:cNvCxnSpPr>
          <p:nvPr/>
        </p:nvCxnSpPr>
        <p:spPr>
          <a:xfrm flipV="1">
            <a:off x="6723615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ZoneTexte 55">
            <a:extLst>
              <a:ext uri="{FF2B5EF4-FFF2-40B4-BE49-F238E27FC236}">
                <a16:creationId xmlns:a16="http://schemas.microsoft.com/office/drawing/2014/main" id="{7932E0A2-8068-6940-A6A4-115420BA9991}"/>
              </a:ext>
            </a:extLst>
          </p:cNvPr>
          <p:cNvSpPr txBox="1"/>
          <p:nvPr/>
        </p:nvSpPr>
        <p:spPr>
          <a:xfrm>
            <a:off x="628639" y="3133408"/>
            <a:ext cx="5084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sage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C38D8DD9-D729-9940-8600-440BD9DBD70E}"/>
              </a:ext>
            </a:extLst>
          </p:cNvPr>
          <p:cNvCxnSpPr>
            <a:cxnSpLocks/>
          </p:cNvCxnSpPr>
          <p:nvPr/>
        </p:nvCxnSpPr>
        <p:spPr>
          <a:xfrm>
            <a:off x="1138450" y="4313969"/>
            <a:ext cx="7567501" cy="9938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ZoneTexte 59">
            <a:extLst>
              <a:ext uri="{FF2B5EF4-FFF2-40B4-BE49-F238E27FC236}">
                <a16:creationId xmlns:a16="http://schemas.microsoft.com/office/drawing/2014/main" id="{ADC19192-CE84-CE4F-8385-7E0E51568B27}"/>
              </a:ext>
            </a:extLst>
          </p:cNvPr>
          <p:cNvSpPr txBox="1"/>
          <p:nvPr/>
        </p:nvSpPr>
        <p:spPr>
          <a:xfrm>
            <a:off x="8451714" y="4326097"/>
            <a:ext cx="4427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ime</a:t>
            </a:r>
          </a:p>
        </p:txBody>
      </p:sp>
    </p:spTree>
    <p:extLst>
      <p:ext uri="{BB962C8B-B14F-4D97-AF65-F5344CB8AC3E}">
        <p14:creationId xmlns:p14="http://schemas.microsoft.com/office/powerpoint/2010/main" val="263190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FC16D8-2F60-4844-97AE-E0BD300158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e2e26994-5e48-4994-8c16-0b6f61c4bc8a"/>
    <ds:schemaRef ds:uri="http://purl.org/dc/terms/"/>
    <ds:schemaRef ds:uri="http://schemas.openxmlformats.org/package/2006/metadata/core-properties"/>
    <ds:schemaRef ds:uri="9f09b4db-7fdb-4a79-a1ce-e7e1d5ac2b1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</TotalTime>
  <Words>31</Words>
  <Application>Microsoft Macintosh PowerPoint</Application>
  <PresentationFormat>Affichage à l'écran (16:9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0" baseType="lpstr"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Thierry Fraudet</cp:lastModifiedBy>
  <cp:revision>579</cp:revision>
  <cp:lastPrinted>2020-01-30T15:06:13Z</cp:lastPrinted>
  <dcterms:modified xsi:type="dcterms:W3CDTF">2020-11-25T09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